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6" autoAdjust="0"/>
    <p:restoredTop sz="94660"/>
  </p:normalViewPr>
  <p:slideViewPr>
    <p:cSldViewPr snapToGrid="0">
      <p:cViewPr varScale="1">
        <p:scale>
          <a:sx n="81" d="100"/>
          <a:sy n="81" d="100"/>
        </p:scale>
        <p:origin x="74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949F02-E30D-43C7-A203-B861A98F22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7DF2C2-C2F0-45A8-B688-A0E18DB4F5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F616EA-1019-4E50-997B-CBB082A703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BAA3D-E4F3-478A-8CCB-70D4F037D1A8}" type="datetimeFigureOut">
              <a:rPr lang="de-DE" smtClean="0"/>
              <a:t>03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DAF87A-8732-4765-B7A8-B5C0C5B936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1DF09F-D7D5-46FE-8069-D8E86738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B1EED-6744-42C9-924B-07B065E4FA6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07061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7B149-EF15-4FEA-B1C3-16212BAC06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CAA19A-B0BF-4BFB-99BC-FAA26F7915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3C34DD-0A5B-4858-BABC-8F4F75A2F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BAA3D-E4F3-478A-8CCB-70D4F037D1A8}" type="datetimeFigureOut">
              <a:rPr lang="de-DE" smtClean="0"/>
              <a:t>03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32B527-7D53-4B44-A02D-33A756C423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694134-1542-47E1-9C1F-975A1F08F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B1EED-6744-42C9-924B-07B065E4FA6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7457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5544B38-077F-4A28-9013-698854A9FD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A70DBEE-7DE3-4C3D-A5ED-CCF83866FB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D3B3CA-1A39-492A-B0FB-9D4B594573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BAA3D-E4F3-478A-8CCB-70D4F037D1A8}" type="datetimeFigureOut">
              <a:rPr lang="de-DE" smtClean="0"/>
              <a:t>03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B1B78C-898D-4B01-965F-94D137749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F5A320-08CC-4AFF-93AA-81BEC423A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B1EED-6744-42C9-924B-07B065E4FA6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45041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90D02-3574-4C1D-892E-B38C4C587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9BBF11-C551-4478-B464-894AA2F2FE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2C72AA-4725-4D88-B91F-6A1C438718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BAA3D-E4F3-478A-8CCB-70D4F037D1A8}" type="datetimeFigureOut">
              <a:rPr lang="de-DE" smtClean="0"/>
              <a:t>03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DDC98C-FD9C-40AC-8420-51E941F31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ED5469-CE56-477B-A638-55224427A4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B1EED-6744-42C9-924B-07B065E4FA6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474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78D5B-E6EF-4828-8D07-18066E8F3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FF28F5-CED6-456F-B7DD-69D8FB42CD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8B1F7D-229F-4F52-8BA9-511F49D8C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BAA3D-E4F3-478A-8CCB-70D4F037D1A8}" type="datetimeFigureOut">
              <a:rPr lang="de-DE" smtClean="0"/>
              <a:t>03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B69091-2C48-4511-B401-9452192D34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70E3D4-C538-46E6-A277-5BACC21E9D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B1EED-6744-42C9-924B-07B065E4FA6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04651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E8FB43-45AD-4D59-9225-DF6462E0A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3FBA9C-48AA-4C96-BF27-B85C4C1537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DCC818-9CDA-430C-8631-478E6DEA15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85DE59C-DA13-417A-AE04-5819B8B52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BAA3D-E4F3-478A-8CCB-70D4F037D1A8}" type="datetimeFigureOut">
              <a:rPr lang="de-DE" smtClean="0"/>
              <a:t>03.12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CCF401-24E4-4FB8-ABE9-1D8EBE63D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63DAFE-4EC0-4213-92C3-7438FF308E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B1EED-6744-42C9-924B-07B065E4FA6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89948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0391F-097F-4327-AF2F-483E0B8FB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2DC44C-78CA-48FE-8C70-3AEF1803D1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A2EB50-EC42-43E6-B621-2AF708481B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AD259-8422-4EF3-B976-5B7517A4F1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5E1547C-2FD1-47E3-8EBE-1DCA0164429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DBFAA2-86CF-4027-9FB0-728DC278B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BAA3D-E4F3-478A-8CCB-70D4F037D1A8}" type="datetimeFigureOut">
              <a:rPr lang="de-DE" smtClean="0"/>
              <a:t>03.12.2022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DA019D5-F7DC-4DD3-907E-B8EB32BB3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7E391D8-FC4D-46CD-9B76-62D6C99076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B1EED-6744-42C9-924B-07B065E4FA6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7691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1EA161-F857-4C82-AA43-B894A7BC5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8FC841-2A75-45FD-908D-08D4E19575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BAA3D-E4F3-478A-8CCB-70D4F037D1A8}" type="datetimeFigureOut">
              <a:rPr lang="de-DE" smtClean="0"/>
              <a:t>03.12.2022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928AB4-D923-4719-BBED-764F54A2F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377561-7CDA-4B3F-9631-BF296DE818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B1EED-6744-42C9-924B-07B065E4FA6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93063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6AAC16-99EE-4D95-97B4-CF377DDCB3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BAA3D-E4F3-478A-8CCB-70D4F037D1A8}" type="datetimeFigureOut">
              <a:rPr lang="de-DE" smtClean="0"/>
              <a:t>03.12.2022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12F292-97DA-4AAB-805D-CA0FD29BB1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625537-D055-4879-B370-79D5C3D7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B1EED-6744-42C9-924B-07B065E4FA6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392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9935F-2ADE-4679-AD0D-B0F830904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7D5FC4-EBAE-456A-A2B1-7E7C170546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D8B7D9-9CF0-4C83-B9D8-6BCC6FE363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F74DBC-CABC-4AC1-8AAA-67D1170CC7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BAA3D-E4F3-478A-8CCB-70D4F037D1A8}" type="datetimeFigureOut">
              <a:rPr lang="de-DE" smtClean="0"/>
              <a:t>03.12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1EF1C0-1A6C-4353-A38A-53A241D49E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F37A20-9BF9-47D9-902A-6A01A3419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B1EED-6744-42C9-924B-07B065E4FA6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3225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A1BFCD-8807-4478-9D49-2ED7B56C30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FE6DE0B-1A1B-46EC-AFE3-82378C46C84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987D9A-5FAE-4083-977E-149CF33CFA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457F69-3D69-4238-9FD7-65CE39ED84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BAA3D-E4F3-478A-8CCB-70D4F037D1A8}" type="datetimeFigureOut">
              <a:rPr lang="de-DE" smtClean="0"/>
              <a:t>03.12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E94860-140F-4D77-82FB-1DE114DFB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42064F-03E0-476C-B5C3-909027DBE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B1EED-6744-42C9-924B-07B065E4FA6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58087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B05D6B6-6718-4666-91CC-8812BEF6FE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51337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7D0F0A-FAA3-42B2-A695-9A34BFB0B8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FA8A0B-49DD-428A-A917-AB7D7DB4D9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2BA385-C957-4631-9C23-F2FAB5AA38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4BAA3D-E4F3-478A-8CCB-70D4F037D1A8}" type="datetimeFigureOut">
              <a:rPr lang="de-DE" smtClean="0"/>
              <a:t>03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719830-9B0C-4BB7-9FB9-E5ED5D1A5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7617E0-DF53-42D5-A779-D47AA5BB71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EB1EED-6744-42C9-924B-07B065E4FA62}" type="slidenum">
              <a:rPr lang="de-DE" smtClean="0"/>
              <a:t>‹#›</a:t>
            </a:fld>
            <a:endParaRPr lang="de-DE"/>
          </a:p>
        </p:txBody>
      </p:sp>
      <p:sp>
        <p:nvSpPr>
          <p:cNvPr id="9" name="MSIPCMContentMarking" descr="{&quot;HashCode&quot;:42798453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D2E7D658-5841-465A-BE31-1F81D20B42A1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24603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12F9DDF-7053-4734-8D52-3D425ABF6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6616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6026FE9B-8274-4E72-A231-D5A479CE7B29}"/>
              </a:ext>
            </a:extLst>
          </p:cNvPr>
          <p:cNvSpPr txBox="1"/>
          <p:nvPr/>
        </p:nvSpPr>
        <p:spPr>
          <a:xfrm>
            <a:off x="0" y="12680"/>
            <a:ext cx="121920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Few changes in schema to normalize the stru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move table film_category and join the film table directly to category table using 1 to many relation from film to category table using film_id column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dirty="0"/>
              <a:t>Category table: film_id is the foreign key and category_id primary ke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emove table film_actor and join the film table directly to actor table using 1 to many relation from film to actor table using film_id column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dirty="0"/>
              <a:t>Actor table: film_id is the foreign key and actor_id primary ke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dd district table to detail district related information and connect to address table using new district_id column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dirty="0"/>
              <a:t>Address table: district_id foreign key and address_id primary ke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dd a date table to map to all date columns across the schema to be able to do time related/ aggregated querie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dirty="0"/>
              <a:t>Actor table: last_update is foreign key from date_id primary key in Date t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36B0D2-39C3-478D-BA20-87957BAAAE1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236" b="18860"/>
          <a:stretch/>
        </p:blipFill>
        <p:spPr>
          <a:xfrm>
            <a:off x="197963" y="3429000"/>
            <a:ext cx="9210429" cy="328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180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172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Wingdings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jwalita Baruah</dc:creator>
  <cp:lastModifiedBy>Prajwalita Baruah</cp:lastModifiedBy>
  <cp:revision>1</cp:revision>
  <dcterms:created xsi:type="dcterms:W3CDTF">2022-12-03T16:21:58Z</dcterms:created>
  <dcterms:modified xsi:type="dcterms:W3CDTF">2022-12-03T16:3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702bf62-88e6-456d-b298-e2abb13de1ea_Enabled">
    <vt:lpwstr>true</vt:lpwstr>
  </property>
  <property fmtid="{D5CDD505-2E9C-101B-9397-08002B2CF9AE}" pid="3" name="MSIP_Label_0702bf62-88e6-456d-b298-e2abb13de1ea_SetDate">
    <vt:lpwstr>2022-12-03T16:37:11Z</vt:lpwstr>
  </property>
  <property fmtid="{D5CDD505-2E9C-101B-9397-08002B2CF9AE}" pid="4" name="MSIP_Label_0702bf62-88e6-456d-b298-e2abb13de1ea_Method">
    <vt:lpwstr>Standard</vt:lpwstr>
  </property>
  <property fmtid="{D5CDD505-2E9C-101B-9397-08002B2CF9AE}" pid="5" name="MSIP_Label_0702bf62-88e6-456d-b298-e2abb13de1ea_Name">
    <vt:lpwstr>0702bf62-88e6-456d-b298-e2abb13de1ea</vt:lpwstr>
  </property>
  <property fmtid="{D5CDD505-2E9C-101B-9397-08002B2CF9AE}" pid="6" name="MSIP_Label_0702bf62-88e6-456d-b298-e2abb13de1ea_SiteId">
    <vt:lpwstr>548d26ab-8caa-49e1-97c2-a1b1a06cc39c</vt:lpwstr>
  </property>
  <property fmtid="{D5CDD505-2E9C-101B-9397-08002B2CF9AE}" pid="7" name="MSIP_Label_0702bf62-88e6-456d-b298-e2abb13de1ea_ActionId">
    <vt:lpwstr>17c0e8c3-a161-43d1-a133-1a3bc77568eb</vt:lpwstr>
  </property>
  <property fmtid="{D5CDD505-2E9C-101B-9397-08002B2CF9AE}" pid="8" name="MSIP_Label_0702bf62-88e6-456d-b298-e2abb13de1ea_ContentBits">
    <vt:lpwstr>2</vt:lpwstr>
  </property>
</Properties>
</file>